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1"/>
    <p:sldMasterId id="2147485194" r:id="rId2"/>
    <p:sldMasterId id="2147485231" r:id="rId3"/>
  </p:sldMasterIdLst>
  <p:notesMasterIdLst>
    <p:notesMasterId r:id="rId8"/>
  </p:notesMasterIdLst>
  <p:handoutMasterIdLst>
    <p:handoutMasterId r:id="rId9"/>
  </p:handoutMasterIdLst>
  <p:sldIdLst>
    <p:sldId id="260" r:id="rId4"/>
    <p:sldId id="2147473763" r:id="rId5"/>
    <p:sldId id="2147473764" r:id="rId6"/>
    <p:sldId id="264" r:id="rId7"/>
  </p:sldIdLst>
  <p:sldSz cx="12192000" cy="6858000"/>
  <p:notesSz cx="6797675" cy="9926638"/>
  <p:embeddedFontLst>
    <p:embeddedFont>
      <p:font typeface="Noto Sans" panose="020B0502040504020204" pitchFamily="34" charset="0"/>
      <p:regular r:id="rId10"/>
      <p:bold r:id="rId11"/>
      <p:italic r:id="rId12"/>
      <p:boldItalic r:id="rId13"/>
    </p:embeddedFont>
    <p:embeddedFont>
      <p:font typeface="Ooredoo Heavy" panose="00000A00000000000000" pitchFamily="2" charset="0"/>
      <p:bold r:id="rId14"/>
    </p:embeddedFont>
    <p:embeddedFont>
      <p:font typeface="Outfit ExtraBold" pitchFamily="2" charset="0"/>
      <p:bold r:id="rId15"/>
    </p:embeddedFont>
    <p:embeddedFont>
      <p:font typeface="Rubik" pitchFamily="2" charset="-79"/>
      <p:regular r:id="rId16"/>
      <p:bold r:id="rId17"/>
      <p:italic r:id="rId18"/>
      <p:boldItalic r:id="rId19"/>
    </p:embeddedFont>
    <p:embeddedFont>
      <p:font typeface="Rubik SemiBold" pitchFamily="2" charset="-79"/>
      <p:bold r:id="rId20"/>
      <p:boldItalic r:id="rId21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F1C400"/>
    <a:srgbClr val="F09491"/>
    <a:srgbClr val="FF585D"/>
    <a:srgbClr val="F5A992"/>
    <a:srgbClr val="00416A"/>
    <a:srgbClr val="3CDBC0"/>
    <a:srgbClr val="2CD5C4"/>
    <a:srgbClr val="65C4D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FF6820-5597-4617-B56B-278AA4BE7EE6}" v="15" dt="2024-05-21T07:00:58.5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5745" autoAdjust="0"/>
  </p:normalViewPr>
  <p:slideViewPr>
    <p:cSldViewPr snapToGrid="0" snapToObjects="1">
      <p:cViewPr varScale="1">
        <p:scale>
          <a:sx n="73" d="100"/>
          <a:sy n="73" d="100"/>
        </p:scale>
        <p:origin x="36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2.fntdata"/><Relationship Id="rId7" Type="http://schemas.openxmlformats.org/officeDocument/2006/relationships/slide" Target="slides/slide4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2.fntdata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font" Target="fonts/font6.fntdata"/><Relationship Id="rId23" Type="http://schemas.openxmlformats.org/officeDocument/2006/relationships/viewProps" Target="view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5/20/2024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‹#›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1A70E0C9-048D-4F47-870E-3BFCAC7E8546}" type="datetimeFigureOut">
              <a:rPr lang="en-US" smtClean="0"/>
              <a:pPr/>
              <a:t>5/2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E18BF02C-2B30-4A7F-9DCE-38E6C5A43D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8BF02C-2B30-4A7F-9DCE-38E6C5A43D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01853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8BF02C-2B30-4A7F-9DCE-38E6C5A43D8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155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88481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8388350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7"/>
            <a:ext cx="6737494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0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0315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1757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0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dirty="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0628859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7308885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4082412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3056425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26102629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7414657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09477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89912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301204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32428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BCCB7A99-BC73-45EC-BCF6-67FFEA14AAA8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69366C-D30F-B426-5A75-DCD0405C8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224104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562538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377541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28314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202553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6501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8459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0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2745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353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9600767" cy="2358348"/>
          </a:xfrm>
        </p:spPr>
        <p:txBody>
          <a:bodyPr wrap="square" lIns="0" tIns="0" rIns="0" bIns="0" anchor="b">
            <a:normAutofit/>
          </a:bodyPr>
          <a:lstStyle>
            <a:lvl1pPr>
              <a:lnSpc>
                <a:spcPct val="80000"/>
              </a:lnSpc>
              <a:defRPr sz="96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7" y="4557079"/>
            <a:ext cx="10142537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32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5F369A-F5C8-C712-65F4-82AC7C64C4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7" cy="749873"/>
          </a:xfrm>
          <a:prstGeom prst="rect">
            <a:avLst/>
          </a:prstGeom>
        </p:spPr>
      </p:pic>
      <p:pic>
        <p:nvPicPr>
          <p:cNvPr id="2" name="Picture 1" descr="A red circ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258C4AD4-4C27-04CD-5554-06DC39682A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950" y="1700608"/>
            <a:ext cx="1694232" cy="1694232"/>
          </a:xfrm>
          <a:prstGeom prst="rect">
            <a:avLst/>
          </a:prstGeom>
        </p:spPr>
      </p:pic>
      <p:sp>
        <p:nvSpPr>
          <p:cNvPr id="10" name="Shape 16">
            <a:extLst>
              <a:ext uri="{FF2B5EF4-FFF2-40B4-BE49-F238E27FC236}">
                <a16:creationId xmlns:a16="http://schemas.microsoft.com/office/drawing/2014/main" id="{21574553-169E-A9CB-65A7-1EDCCB1471D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8" y="5797875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9406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56900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tabLst>
                <a:tab pos="3325813" algn="l"/>
              </a:tabLst>
              <a:defRPr>
                <a:latin typeface="Rubik" pitchFamily="2" charset="-79"/>
                <a:cs typeface="Rubik" pitchFamily="2" charset="-79"/>
              </a:defRPr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D96FD484-7585-4DE7-AA01-D6E50E5FD7B0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A8688D-BFE0-BC5D-7442-2E1C43FC3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9600767" cy="2358348"/>
          </a:xfrm>
        </p:spPr>
        <p:txBody>
          <a:bodyPr wrap="square" lIns="0" tIns="0" rIns="0" bIns="0" anchor="b">
            <a:normAutofit/>
          </a:bodyPr>
          <a:lstStyle>
            <a:lvl1pPr>
              <a:lnSpc>
                <a:spcPct val="80000"/>
              </a:lnSpc>
              <a:defRPr sz="96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7" y="4557079"/>
            <a:ext cx="10142537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32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5F369A-F5C8-C712-65F4-82AC7C64C4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7" cy="749873"/>
          </a:xfrm>
          <a:prstGeom prst="rect">
            <a:avLst/>
          </a:prstGeom>
        </p:spPr>
      </p:pic>
      <p:sp>
        <p:nvSpPr>
          <p:cNvPr id="6" name="Shape 16">
            <a:extLst>
              <a:ext uri="{FF2B5EF4-FFF2-40B4-BE49-F238E27FC236}">
                <a16:creationId xmlns:a16="http://schemas.microsoft.com/office/drawing/2014/main" id="{2B290415-D4E8-4F56-71F4-1D10AF56E7F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8" y="5797875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9" name="Shape 17">
            <a:extLst>
              <a:ext uri="{FF2B5EF4-FFF2-40B4-BE49-F238E27FC236}">
                <a16:creationId xmlns:a16="http://schemas.microsoft.com/office/drawing/2014/main" id="{DE23DA91-4179-66F8-C3D1-582889DD7803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9406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4671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33047D-4A28-B751-CAB0-A4CF37CD0FB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991756"/>
            <a:ext cx="10142537" cy="2358348"/>
          </a:xfrm>
        </p:spPr>
        <p:txBody>
          <a:bodyPr anchor="t"/>
          <a:lstStyle>
            <a:lvl1pPr>
              <a:lnSpc>
                <a:spcPct val="80000"/>
              </a:lnSpc>
              <a:defRPr sz="9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hank you GREETING GOES HER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4CF3ED5C-8BA7-4507-49DD-B80C5E7D4D32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23888" y="5340140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hape 17">
            <a:extLst>
              <a:ext uri="{FF2B5EF4-FFF2-40B4-BE49-F238E27FC236}">
                <a16:creationId xmlns:a16="http://schemas.microsoft.com/office/drawing/2014/main" id="{39841F01-A069-4B33-9275-965C4F50CBC2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623888" y="584447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1E04C3-A602-5F67-E9A3-5EEB740A54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8" cy="7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29445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4881970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3135151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0035118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7699155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0357232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819606966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870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5546F02-6B4A-A9A3-7B22-484F2089A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6841"/>
          <a:stretch/>
        </p:blipFill>
        <p:spPr>
          <a:xfrm>
            <a:off x="7090611" y="560249"/>
            <a:ext cx="4902655" cy="629775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589514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45F568F9-2683-4D73-B867-5AEF0061B8D1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0C810-01EA-63CB-5362-610880EFF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E8AFEA8-F4BE-F310-5517-B3ED04B7C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59231" y="540279"/>
            <a:ext cx="5532769" cy="631772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9362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CE50936-837D-05A1-1B1D-4F132898C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98378" y="760412"/>
            <a:ext cx="5693622" cy="6097588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452967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6EFDD-9BD5-3450-CB93-F7B8E874D8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0842"/>
          <a:stretch/>
        </p:blipFill>
        <p:spPr>
          <a:xfrm>
            <a:off x="7721600" y="2271459"/>
            <a:ext cx="4470399" cy="4586541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43625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BB93F00-2E21-A4C6-F689-4E5BF9719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0031"/>
          <a:stretch/>
        </p:blipFill>
        <p:spPr>
          <a:xfrm>
            <a:off x="6072555" y="676120"/>
            <a:ext cx="6119446" cy="618188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9152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583517-7106-D106-3E69-9649195E65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84655" y="541311"/>
            <a:ext cx="4507345" cy="631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3731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6518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453D21-5402-CE7C-1712-2E1AA613F4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11018" y="560249"/>
            <a:ext cx="3806649" cy="6303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3513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67C7EA-6840-D70C-27E4-C01B16A6A3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5011" y="668716"/>
            <a:ext cx="5266989" cy="6189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169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Red divi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526416-7F27-888D-589F-591E4E09F0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0248B8"/>
              </a:clrFrom>
              <a:clrTo>
                <a:srgbClr val="0248B8">
                  <a:alpha val="0"/>
                </a:srgbClr>
              </a:clrTo>
            </a:clrChange>
          </a:blip>
          <a:srcRect b="30140"/>
          <a:stretch/>
        </p:blipFill>
        <p:spPr>
          <a:xfrm>
            <a:off x="7170575" y="1182418"/>
            <a:ext cx="4911858" cy="5675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1661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Red divi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8120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857750"/>
          </a:xfrm>
        </p:spPr>
        <p:txBody>
          <a:bodyPr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088DBADD-80EB-4BAF-8DFB-4441BC0F37C5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828C6D-745F-198D-4243-4B2223F22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Red divider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442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00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Red divider with image">
    <p:bg>
      <p:bgPr>
        <a:solidFill>
          <a:srgbClr val="F5A9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442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8127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Red divider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776FB5-3301-91A1-B671-56E5961A7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5011" y="668716"/>
            <a:ext cx="5266989" cy="6189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547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54632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8412"/>
            <a:ext cx="10919792" cy="4860925"/>
          </a:xfrm>
        </p:spPr>
        <p:txBody>
          <a:bodyPr anchor="t" anchorCtr="0"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73852EC9-F0B0-44B1-9FE7-E87EC14ADE79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CAFEF7-274D-366A-AEA0-05F949DC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9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oleObject" Target="../embeddings/oleObject16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25942505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68413"/>
            <a:ext cx="10919792" cy="486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Click to edit Master text styles</a:t>
            </a:r>
          </a:p>
          <a:p>
            <a:pPr marL="205740" lvl="1" indent="-205740">
              <a:spcBef>
                <a:spcPts val="900"/>
              </a:spcBef>
            </a:pPr>
            <a:r>
              <a:rPr lang="en-US"/>
              <a:t>Second level</a:t>
            </a:r>
          </a:p>
          <a:p>
            <a:pPr marL="205740" lvl="2" indent="-205740">
              <a:spcBef>
                <a:spcPts val="900"/>
              </a:spcBef>
            </a:pPr>
            <a:r>
              <a:rPr lang="en-US"/>
              <a:t>Third level</a:t>
            </a:r>
          </a:p>
          <a:p>
            <a:pPr marL="205740" lvl="3" indent="-205740">
              <a:spcBef>
                <a:spcPts val="900"/>
              </a:spcBef>
            </a:pPr>
            <a:r>
              <a:rPr lang="en-US"/>
              <a:t>Fourth level</a:t>
            </a:r>
          </a:p>
          <a:p>
            <a:pPr marL="205740" lvl="4" indent="-205740">
              <a:spcBef>
                <a:spcPts val="900"/>
              </a:spcBef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24F66902-87F4-4757-BF32-F666686F52D8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71ECCF2-838A-A034-C2BC-F5F835F7B23A}"/>
              </a:ext>
            </a:extLst>
          </p:cNvPr>
          <p:cNvSpPr txBox="1"/>
          <p:nvPr userDrawn="1"/>
        </p:nvSpPr>
        <p:spPr>
          <a:xfrm>
            <a:off x="11615247" y="6465666"/>
            <a:ext cx="461914" cy="2870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 rtl="1">
              <a:lnSpc>
                <a:spcPct val="115000"/>
              </a:lnSpc>
              <a:spcAft>
                <a:spcPts val="1000"/>
              </a:spcAft>
            </a:pPr>
            <a:r>
              <a:rPr lang="ar-QA" sz="1050" b="1" dirty="0">
                <a:solidFill>
                  <a:schemeClr val="bg1"/>
                </a:solidFill>
                <a:effectLst/>
                <a:latin typeface="Rubik" pitchFamily="2" charset="-79"/>
                <a:ea typeface="Noto Sans" panose="020B0502040504020204" pitchFamily="34" charset="0"/>
                <a:cs typeface="Noto Kufi Arabic" pitchFamily="2"/>
              </a:rPr>
              <a:t>ضمن</a:t>
            </a:r>
            <a:endParaRPr lang="en-GB" sz="900" dirty="0">
              <a:solidFill>
                <a:schemeClr val="bg1"/>
              </a:solidFill>
              <a:effectLst/>
              <a:latin typeface="Rubik" pitchFamily="2" charset="-79"/>
              <a:ea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D58EF-69C2-E07D-3709-80330A11EA68}"/>
              </a:ext>
            </a:extLst>
          </p:cNvPr>
          <p:cNvSpPr/>
          <p:nvPr userDrawn="1"/>
        </p:nvSpPr>
        <p:spPr bwMode="auto">
          <a:xfrm>
            <a:off x="11568113" y="6416675"/>
            <a:ext cx="556182" cy="384984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1" r:id="rId2"/>
    <p:sldLayoutId id="2147485192" r:id="rId3"/>
    <p:sldLayoutId id="2147485123" r:id="rId4"/>
    <p:sldLayoutId id="2147485127" r:id="rId5"/>
    <p:sldLayoutId id="2147485086" r:id="rId6"/>
    <p:sldLayoutId id="2147485132" r:id="rId7"/>
    <p:sldLayoutId id="2147485096" r:id="rId8"/>
    <p:sldLayoutId id="2147485131" r:id="rId9"/>
    <p:sldLayoutId id="2147485188" r:id="rId10"/>
    <p:sldLayoutId id="2147485169" r:id="rId11"/>
    <p:sldLayoutId id="2147485178" r:id="rId12"/>
    <p:sldLayoutId id="2147485183" r:id="rId13"/>
    <p:sldLayoutId id="2147485152" r:id="rId14"/>
    <p:sldLayoutId id="2147485190" r:id="rId15"/>
    <p:sldLayoutId id="2147485177" r:id="rId16"/>
    <p:sldLayoutId id="2147485182" r:id="rId17"/>
    <p:sldLayoutId id="2147485184" r:id="rId18"/>
    <p:sldLayoutId id="2147485174" r:id="rId19"/>
    <p:sldLayoutId id="2147485179" r:id="rId20"/>
    <p:sldLayoutId id="2147485185" r:id="rId21"/>
    <p:sldLayoutId id="2147485175" r:id="rId22"/>
    <p:sldLayoutId id="2147485180" r:id="rId23"/>
    <p:sldLayoutId id="2147485186" r:id="rId24"/>
    <p:sldLayoutId id="2147485176" r:id="rId25"/>
    <p:sldLayoutId id="2147485181" r:id="rId26"/>
    <p:sldLayoutId id="2147485187" r:id="rId27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9131324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20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9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5" r:id="rId1"/>
    <p:sldLayoutId id="2147485196" r:id="rId2"/>
    <p:sldLayoutId id="2147485197" r:id="rId3"/>
    <p:sldLayoutId id="2147485198" r:id="rId4"/>
    <p:sldLayoutId id="2147485199" r:id="rId5"/>
    <p:sldLayoutId id="2147485200" r:id="rId6"/>
    <p:sldLayoutId id="2147485201" r:id="rId7"/>
    <p:sldLayoutId id="2147485202" r:id="rId8"/>
    <p:sldLayoutId id="2147485203" r:id="rId9"/>
    <p:sldLayoutId id="2147485204" r:id="rId10"/>
    <p:sldLayoutId id="2147485205" r:id="rId11"/>
    <p:sldLayoutId id="2147485206" r:id="rId12"/>
    <p:sldLayoutId id="2147485207" r:id="rId13"/>
    <p:sldLayoutId id="2147485208" r:id="rId14"/>
    <p:sldLayoutId id="2147485209" r:id="rId15"/>
    <p:sldLayoutId id="2147485210" r:id="rId16"/>
    <p:sldLayoutId id="2147485211" r:id="rId17"/>
    <p:sldLayoutId id="2147485212" r:id="rId18"/>
    <p:sldLayoutId id="2147485213" r:id="rId19"/>
    <p:sldLayoutId id="2147485214" r:id="rId20"/>
    <p:sldLayoutId id="2147485215" r:id="rId21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6610742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9330A795-F0BE-49AB-B973-4C47DE79D5F7}" type="datetime3">
              <a:rPr lang="en-US" smtClean="0"/>
              <a:pPr/>
              <a:t>20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651597" y="6434431"/>
            <a:ext cx="1317909" cy="25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0363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232" r:id="rId1"/>
    <p:sldLayoutId id="2147485233" r:id="rId2"/>
    <p:sldLayoutId id="2147485234" r:id="rId3"/>
    <p:sldLayoutId id="2147485235" r:id="rId4"/>
    <p:sldLayoutId id="2147485236" r:id="rId5"/>
    <p:sldLayoutId id="2147485237" r:id="rId6"/>
    <p:sldLayoutId id="2147485238" r:id="rId7"/>
    <p:sldLayoutId id="2147485239" r:id="rId8"/>
    <p:sldLayoutId id="2147485240" r:id="rId9"/>
    <p:sldLayoutId id="2147485241" r:id="rId10"/>
    <p:sldLayoutId id="2147485242" r:id="rId11"/>
    <p:sldLayoutId id="2147485243" r:id="rId12"/>
    <p:sldLayoutId id="2147485244" r:id="rId13"/>
    <p:sldLayoutId id="2147485245" r:id="rId14"/>
    <p:sldLayoutId id="2147485246" r:id="rId15"/>
    <p:sldLayoutId id="2147485247" r:id="rId16"/>
    <p:sldLayoutId id="2147485248" r:id="rId17"/>
    <p:sldLayoutId id="2147485249" r:id="rId18"/>
    <p:sldLayoutId id="2147485250" r:id="rId19"/>
    <p:sldLayoutId id="2147485251" r:id="rId20"/>
    <p:sldLayoutId id="2147485252" r:id="rId21"/>
    <p:sldLayoutId id="2147485253" r:id="rId22"/>
    <p:sldLayoutId id="2147485254" r:id="rId23"/>
    <p:sldLayoutId id="2147485255" r:id="rId24"/>
    <p:sldLayoutId id="2147485256" r:id="rId25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>
          <p15:clr>
            <a:srgbClr val="F26B43"/>
          </p15:clr>
        </p15:guide>
        <p15:guide id="4" orient="horz" pos="618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pos="7287">
          <p15:clr>
            <a:srgbClr val="F26B43"/>
          </p15:clr>
        </p15:guide>
        <p15:guide id="8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7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43383CB-C857-26E0-8606-1D0BB0BFD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br>
              <a:rPr lang="en-GB" dirty="0"/>
            </a:b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EE3AB8-BFC6-06BA-FD74-E969963D08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oredoo Palestine</a:t>
            </a:r>
          </a:p>
          <a:p>
            <a:r>
              <a:rPr lang="en-GB" dirty="0">
                <a:solidFill>
                  <a:schemeClr val="bg1"/>
                </a:solidFill>
              </a:rPr>
              <a:t>Apr’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2B02BE-3884-9B04-05DB-C86B67125164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r>
              <a:rPr lang="en-GB" dirty="0"/>
              <a:t>OGPM – DGCEO’s OFF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A406E5-E96D-F64D-B915-81C9ED5778C8}"/>
              </a:ext>
            </a:extLst>
          </p:cNvPr>
          <p:cNvSpPr txBox="1"/>
          <p:nvPr/>
        </p:nvSpPr>
        <p:spPr>
          <a:xfrm>
            <a:off x="1586429" y="592707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GB" sz="1200" dirty="0">
              <a:solidFill>
                <a:srgbClr val="000000"/>
              </a:solidFill>
              <a:latin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7941705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lIns="0" tIns="0" rIns="0" bIns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424C80-5DCD-4620-8490-2768F33C7AE6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BF7BB5-82D6-DFEE-BA63-8074AB94F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lIns="0" tIns="0" rIns="0" bIns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lIns="0" tIns="0" rIns="0" bIns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D3AC213-1DE5-42B0-3E1B-169E6373E54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0A02F0-5247-C176-C916-27BB626A7376}"/>
              </a:ext>
            </a:extLst>
          </p:cNvPr>
          <p:cNvSpPr/>
          <p:nvPr/>
        </p:nvSpPr>
        <p:spPr>
          <a:xfrm>
            <a:off x="6149148" y="531727"/>
            <a:ext cx="5878944" cy="59048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FINANCE</a:t>
            </a:r>
          </a:p>
          <a:p>
            <a:pPr marL="171450" marR="0" lvl="0" indent="-17145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GRAFM</a:t>
            </a:r>
          </a:p>
          <a:p>
            <a:pPr marL="171450" marR="0" lvl="0" indent="-17145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SMART CAPEX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No question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  <a:sym typeface="Helvetica Neue"/>
              </a:rPr>
              <a:t>TECHNOLO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Times New Roman" panose="02020603050405020304" pitchFamily="18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81B02"/>
                </a:solidFill>
                <a:effectLst/>
                <a:uLnTx/>
                <a:uFillTx/>
                <a:latin typeface="Rubik" pitchFamily="2" charset="-79"/>
                <a:ea typeface="Times New Roman" panose="02020603050405020304" pitchFamily="18" charset="0"/>
                <a:cs typeface="Rubik" pitchFamily="2" charset="-79"/>
              </a:rPr>
              <a:t>Q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APEX spend Actual YT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is below budget YTD by 45.4%. 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Q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Any plans to catch up earlier in the year?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noFill/>
              <a:effectLst/>
              <a:highlight>
                <a:srgbClr val="FFFFFF"/>
              </a:highlight>
              <a:uLnTx/>
              <a:uFillTx/>
              <a:latin typeface="Times New Roman" panose="02020603050405020304" pitchFamily="18" charset="0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Technology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Opex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actual YTD continues above budget YTD b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24.6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due to fuel price increase. PAT &amp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Edoc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 rent escalation and FX impact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noFill/>
              <a:effectLst/>
              <a:highlight>
                <a:srgbClr val="FFFFFF"/>
              </a:highlight>
              <a:uLnTx/>
              <a:uFillTx/>
              <a:latin typeface="Times New Roman" panose="02020603050405020304" pitchFamily="18" charset="0"/>
              <a:ea typeface="Aptos" panose="020B00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noFill/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2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2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/>
                <a:ea typeface="Times New Roman" panose="02020603050405020304" pitchFamily="18" charset="0"/>
              </a:rPr>
              <a:t>Availabilit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/>
                <a:ea typeface="Times New Roman" panose="02020603050405020304" pitchFamily="18" charset="0"/>
              </a:rPr>
              <a:t>impact continues due to national power grid failures and fiber optic cut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FF"/>
              </a:highlight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434F64-2C12-9D6C-2B05-9998EC323960}"/>
              </a:ext>
            </a:extLst>
          </p:cNvPr>
          <p:cNvSpPr/>
          <p:nvPr/>
        </p:nvSpPr>
        <p:spPr>
          <a:xfrm>
            <a:off x="233757" y="531727"/>
            <a:ext cx="5862244" cy="59048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Ooredoo Heavy" panose="00000A00000000000000" pitchFamily="2" charset="0"/>
              <a:ea typeface="Calibri" panose="020F0502020204030204" pitchFamily="34" charset="0"/>
              <a:cs typeface="Arial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6926F12-04A6-E4BD-0357-0BE0B41946FD}"/>
              </a:ext>
            </a:extLst>
          </p:cNvPr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MYANMAR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7B522D-CB44-24E4-F269-4844F0611C50}"/>
              </a:ext>
            </a:extLst>
          </p:cNvPr>
          <p:cNvSpPr txBox="1"/>
          <p:nvPr/>
        </p:nvSpPr>
        <p:spPr>
          <a:xfrm>
            <a:off x="275040" y="543683"/>
            <a:ext cx="58603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COMMERCIAL 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CONSUM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Base Movemen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B2C Mobile customer bas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declined by 19K in Apr’24 impacted by SIM registration barring action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Arial" charset="0"/>
              </a:rPr>
              <a:t>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BUSINESS SERVICES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B2B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</a:t>
            </a: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WHOLESA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No ques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E21536F-FFF1-941C-8DD8-F520F5263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74" y="1601459"/>
            <a:ext cx="9055954" cy="626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57112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C5A71A-D50D-4CA3-A00F-BA390DB29567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37758" y="518718"/>
            <a:ext cx="5880717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STRATE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Digital B2C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5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pr’24 (AOP)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49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, Digital B2B2C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20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OP (April)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19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. Digital B2B is trending a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73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pril AOP &amp;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77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, though digital B2B AOP values are found to be incorrec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              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Q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Digital B2B2C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  A2P Domestic revenue gap of 24% (YTD Basis)  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Plans for bridging A2P Domestic revenue gap?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              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Q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Data Completeness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 Digital slide in PDF is not updated (Feb’24 Data provided), with incorrect data classification (Bulk SMS tagged as B2B)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Slide to be duly updated with tagging aligned with Digital KPI definitions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H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MYANMAR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96000" y="518717"/>
            <a:ext cx="5860472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OPEN ACTIONS / WATCH OUT POINTS: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No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46822484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04466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RGB 2">
      <a:dk1>
        <a:srgbClr val="000000"/>
      </a:dk1>
      <a:lt1>
        <a:srgbClr val="FFFFFF"/>
      </a:lt1>
      <a:dk2>
        <a:srgbClr val="141B4D"/>
      </a:dk2>
      <a:lt2>
        <a:srgbClr val="F1C400"/>
      </a:lt2>
      <a:accent1>
        <a:srgbClr val="ED1C24"/>
      </a:accent1>
      <a:accent2>
        <a:srgbClr val="0047BB"/>
      </a:accent2>
      <a:accent3>
        <a:srgbClr val="3CDBC0"/>
      </a:accent3>
      <a:accent4>
        <a:srgbClr val="FFD100"/>
      </a:accent4>
      <a:accent5>
        <a:srgbClr val="F04E98"/>
      </a:accent5>
      <a:accent6>
        <a:srgbClr val="86C8BC"/>
      </a:accent6>
      <a:hlink>
        <a:srgbClr val="FF585D"/>
      </a:hlink>
      <a:folHlink>
        <a:srgbClr val="F09491"/>
      </a:folHlink>
    </a:clrScheme>
    <a:fontScheme name="Custom 44">
      <a:majorFont>
        <a:latin typeface="Rubik"/>
        <a:ea typeface=""/>
        <a:cs typeface="OoredooArabic-Heavy"/>
      </a:majorFont>
      <a:minorFont>
        <a:latin typeface="Rubik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600" dirty="0" err="1" smtClean="0">
            <a:solidFill>
              <a:srgbClr val="000000"/>
            </a:solidFill>
            <a:latin typeface="Rubik" pitchFamily="2" charset="-79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TEMPLATE OOREDOO_220914 13h00.potx" id="{DA7C33B9-DE10-4E3A-AD65-AC2DB7E14F09}" vid="{EE580C08-0F52-43BC-9F53-66FB84501FB6}"/>
    </a:ext>
  </a:extLst>
</a:theme>
</file>

<file path=ppt/theme/theme2.xml><?xml version="1.0" encoding="utf-8"?>
<a:theme xmlns:a="http://schemas.openxmlformats.org/drawingml/2006/main" name="1_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08.05_20170507_Ooredoo_template_4x3 ratio_v12" id="{25F143A9-7A61-4C35-A3F0-88F1B8416C1C}" vid="{258A0297-BD95-4F55-9DFE-E16A87FEE247}"/>
    </a:ext>
  </a:extLst>
</a:theme>
</file>

<file path=ppt/theme/theme3.xml><?xml version="1.0" encoding="utf-8"?>
<a:theme xmlns:a="http://schemas.openxmlformats.org/drawingml/2006/main" name="2_08.05_20170507_Ooredoo_template_4x3 ratio_v12">
  <a:themeElements>
    <a:clrScheme name="OOREDOO 2022 UPDATE">
      <a:dk1>
        <a:srgbClr val="FFFFFF"/>
      </a:dk1>
      <a:lt1>
        <a:srgbClr val="000000"/>
      </a:lt1>
      <a:dk2>
        <a:srgbClr val="E7E6E6"/>
      </a:dk2>
      <a:lt2>
        <a:srgbClr val="0047BB"/>
      </a:lt2>
      <a:accent1>
        <a:srgbClr val="ED1C24"/>
      </a:accent1>
      <a:accent2>
        <a:srgbClr val="FFD100"/>
      </a:accent2>
      <a:accent3>
        <a:srgbClr val="F04E98"/>
      </a:accent3>
      <a:accent4>
        <a:srgbClr val="3CDBC0"/>
      </a:accent4>
      <a:accent5>
        <a:srgbClr val="0047BB"/>
      </a:accent5>
      <a:accent6>
        <a:srgbClr val="FF585D"/>
      </a:accent6>
      <a:hlink>
        <a:srgbClr val="0563C1"/>
      </a:hlink>
      <a:folHlink>
        <a:srgbClr val="954F7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16x9 ratio_v16" id="{3C9F0165-EBC2-0F4F-891B-D0BC838951B1}" vid="{046064D4-FC3D-374A-92DE-6B0217C4FE2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220914_final</Template>
  <TotalTime>6342</TotalTime>
  <Words>301</Words>
  <Application>Microsoft Office PowerPoint</Application>
  <PresentationFormat>Widescreen</PresentationFormat>
  <Paragraphs>11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Times New Roman</vt:lpstr>
      <vt:lpstr>Outfit ExtraBold</vt:lpstr>
      <vt:lpstr>Ooredoo Heavy</vt:lpstr>
      <vt:lpstr>Courier New</vt:lpstr>
      <vt:lpstr>Rubik</vt:lpstr>
      <vt:lpstr>Calibri</vt:lpstr>
      <vt:lpstr>Arial</vt:lpstr>
      <vt:lpstr>Aptos</vt:lpstr>
      <vt:lpstr>Rubik SemiBold</vt:lpstr>
      <vt:lpstr>Noto Sans</vt:lpstr>
      <vt:lpstr>Wingdings</vt:lpstr>
      <vt:lpstr>08.05_20170507_Ooredoo_template_4x3 ratio_v12</vt:lpstr>
      <vt:lpstr>1_08.05_20170507_Ooredoo_template_4x3 ratio_v12</vt:lpstr>
      <vt:lpstr>2_08.05_20170507_Ooredoo_template_4x3 ratio_v12</vt:lpstr>
      <vt:lpstr>think-cell Slide</vt:lpstr>
      <vt:lpstr>Q&amp;A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e Le Caignec</dc:creator>
  <cp:lastModifiedBy>Helene Le Caignec</cp:lastModifiedBy>
  <cp:revision>10</cp:revision>
  <dcterms:created xsi:type="dcterms:W3CDTF">2023-12-20T08:25:29Z</dcterms:created>
  <dcterms:modified xsi:type="dcterms:W3CDTF">2024-05-21T07:02:18Z</dcterms:modified>
</cp:coreProperties>
</file>